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7:27.607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7:27.607" v="13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A4CFA2F4-FF8D-446B-B271-6DF568DBEADA}" dt="2026-02-12T08:06:56.926" v="7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Produits du trafic</c:v>
                </c:pt>
                <c:pt idx="1">
                  <c:v>6% – Produits résultant de la location d’immeubles</c:v>
                </c:pt>
                <c:pt idx="2">
                  <c:v>12% – Produits accessoires</c:v>
                </c:pt>
                <c:pt idx="3">
                  <c:v>12% – Prestations propres</c:v>
                </c:pt>
                <c:pt idx="4">
                  <c:v>27% – Prestations des pouvoirs publics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956.8073747020399</c:v>
                </c:pt>
                <c:pt idx="1">
                  <c:v>742.96468028659501</c:v>
                </c:pt>
                <c:pt idx="2">
                  <c:v>1402.5437542682</c:v>
                </c:pt>
                <c:pt idx="3">
                  <c:v>1458.0204300400001</c:v>
                </c:pt>
                <c:pt idx="4">
                  <c:v>3122.0523444062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80412327864658606"/>
          <c:h val="0.18254047321631561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0% – Charges de personnel</c:v>
                </c:pt>
                <c:pt idx="1">
                  <c:v>9% – Charges de matières premières et consommables</c:v>
                </c:pt>
                <c:pt idx="2">
                  <c:v>11% – Prestations d’exploitation et d’entretien de tiers</c:v>
                </c:pt>
                <c:pt idx="3">
                  <c:v>16% – Autres dépenses</c:v>
                </c:pt>
                <c:pt idx="4">
                  <c:v>24% – Amortissements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466.9355092994001</c:v>
                </c:pt>
                <c:pt idx="1">
                  <c:v>-966.60982048359699</c:v>
                </c:pt>
                <c:pt idx="2">
                  <c:v>-1185.9344655597599</c:v>
                </c:pt>
                <c:pt idx="3">
                  <c:v>-1755.8557607334999</c:v>
                </c:pt>
                <c:pt idx="4">
                  <c:v>-2693.68601883699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83298833897994917"/>
          <c:h val="0.18043260965604743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693901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751061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6" y="493295"/>
            <a:ext cx="10153651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Produits d’exploitation et charges d’exploitation </a:t>
            </a:r>
            <a:r>
              <a:rPr lang="fr-FR"/>
              <a:t>en 2025.</a:t>
            </a:r>
            <a:br>
              <a:rPr lang="fr-FR" dirty="0"/>
            </a:b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44362" y="6260526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AC2A9BD-566D-68D3-ADD3-0501BAEA715F}"/>
              </a:ext>
            </a:extLst>
          </p:cNvPr>
          <p:cNvSpPr txBox="1"/>
          <p:nvPr/>
        </p:nvSpPr>
        <p:spPr>
          <a:xfrm>
            <a:off x="1964574" y="152114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duits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d’exploitation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BA0261F-2A02-0448-6E24-34A2976485FB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/>
              <a:t>Charges </a:t>
            </a:r>
            <a:r>
              <a:rPr lang="fr-FR" sz="1400" dirty="0"/>
              <a:t>d’exploitation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3CFA73-2A76-4C1B-B41C-E48921A62D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